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4023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869" userDrawn="1">
          <p15:clr>
            <a:srgbClr val="A4A3A4"/>
          </p15:clr>
        </p15:guide>
        <p15:guide id="4" pos="495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BA5D4"/>
    <a:srgbClr val="47AB2C"/>
    <a:srgbClr val="3C4F69"/>
    <a:srgbClr val="1A24AA"/>
    <a:srgbClr val="94186B"/>
    <a:srgbClr val="C40811"/>
    <a:srgbClr val="FFB115"/>
    <a:srgbClr val="3542E0"/>
    <a:srgbClr val="C82091"/>
    <a:srgbClr val="F62B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5778" autoAdjust="0"/>
    <p:restoredTop sz="96201" autoAdjust="0"/>
  </p:normalViewPr>
  <p:slideViewPr>
    <p:cSldViewPr snapToGrid="0">
      <p:cViewPr varScale="1">
        <p:scale>
          <a:sx n="102" d="100"/>
          <a:sy n="102" d="100"/>
        </p:scale>
        <p:origin x="828" y="108"/>
      </p:cViewPr>
      <p:guideLst>
        <p:guide orient="horz" pos="2160"/>
        <p:guide pos="869"/>
        <p:guide pos="495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12/1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A712FC-90FF-4B94-9263-B812CCB51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C036D0-E6B5-434C-940A-96676C27C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4CBDD0-5377-499C-A75C-DCB6DEF030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111BD4D-1490-4F18-8CD7-D2ADC24CF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4193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0930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9091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12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3" r:id="rId2"/>
    <p:sldLayoutId id="2147483734" r:id="rId3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2E499F-4FEB-4331-B485-9373DB704B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th Africa</a:t>
            </a:r>
          </a:p>
        </p:txBody>
      </p:sp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86F7E319-5088-4A9F-9AAE-A6F3796BD4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5544" y="1629000"/>
            <a:ext cx="2734368" cy="3600000"/>
          </a:xfrm>
          <a:prstGeom prst="rect">
            <a:avLst/>
          </a:prstGeom>
        </p:spPr>
      </p:pic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D0DD73C0-D163-4FFC-B3A6-9BB3E29B2D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921" y="1975719"/>
            <a:ext cx="1796964" cy="1599999"/>
          </a:xfrm>
          <a:prstGeom prst="rect">
            <a:avLst/>
          </a:prstGeom>
        </p:spPr>
      </p:pic>
      <p:pic>
        <p:nvPicPr>
          <p:cNvPr id="8" name="Picture 7" descr="A picture containing text, sign, vector graphics&#10;&#10;Description automatically generated">
            <a:extLst>
              <a:ext uri="{FF2B5EF4-FFF2-40B4-BE49-F238E27FC236}">
                <a16:creationId xmlns:a16="http://schemas.microsoft.com/office/drawing/2014/main" id="{423F0E43-EA4E-4D56-BABA-8406E6633E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6900" y="3717727"/>
            <a:ext cx="1440000" cy="1440000"/>
          </a:xfrm>
          <a:prstGeom prst="rect">
            <a:avLst/>
          </a:prstGeom>
        </p:spPr>
      </p:pic>
      <p:pic>
        <p:nvPicPr>
          <p:cNvPr id="10" name="Picture 9" descr="Background pattern&#10;&#10;Description automatically generated with low confidence">
            <a:extLst>
              <a:ext uri="{FF2B5EF4-FFF2-40B4-BE49-F238E27FC236}">
                <a16:creationId xmlns:a16="http://schemas.microsoft.com/office/drawing/2014/main" id="{02A050FC-BBB7-4A58-B34E-3D212F6B82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2921" y="3787634"/>
            <a:ext cx="1799425" cy="1201330"/>
          </a:xfrm>
          <a:prstGeom prst="rect">
            <a:avLst/>
          </a:prstGeom>
        </p:spPr>
      </p:pic>
      <p:grpSp>
        <p:nvGrpSpPr>
          <p:cNvPr id="7" name="Graphic 358">
            <a:extLst>
              <a:ext uri="{FF2B5EF4-FFF2-40B4-BE49-F238E27FC236}">
                <a16:creationId xmlns:a16="http://schemas.microsoft.com/office/drawing/2014/main" id="{10CDB298-7047-402F-AAAF-B4B6A53C8355}"/>
              </a:ext>
            </a:extLst>
          </p:cNvPr>
          <p:cNvGrpSpPr/>
          <p:nvPr/>
        </p:nvGrpSpPr>
        <p:grpSpPr>
          <a:xfrm>
            <a:off x="7866900" y="2032917"/>
            <a:ext cx="2270789" cy="1302713"/>
            <a:chOff x="43819274" y="5917547"/>
            <a:chExt cx="2020750" cy="1159151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14C11B24-B80F-44B1-84AA-F8253D5B5786}"/>
                </a:ext>
              </a:extLst>
            </p:cNvPr>
            <p:cNvSpPr/>
            <p:nvPr/>
          </p:nvSpPr>
          <p:spPr>
            <a:xfrm>
              <a:off x="44276266" y="5917547"/>
              <a:ext cx="180365" cy="348469"/>
            </a:xfrm>
            <a:custGeom>
              <a:avLst/>
              <a:gdLst>
                <a:gd name="connsiteX0" fmla="*/ 0 w 180365"/>
                <a:gd name="connsiteY0" fmla="*/ 236805 h 348469"/>
                <a:gd name="connsiteX1" fmla="*/ 0 w 180365"/>
                <a:gd name="connsiteY1" fmla="*/ 348470 h 348469"/>
                <a:gd name="connsiteX2" fmla="*/ 180365 w 180365"/>
                <a:gd name="connsiteY2" fmla="*/ 111664 h 348469"/>
                <a:gd name="connsiteX3" fmla="*/ 180365 w 180365"/>
                <a:gd name="connsiteY3" fmla="*/ 0 h 348469"/>
                <a:gd name="connsiteX4" fmla="*/ 0 w 180365"/>
                <a:gd name="connsiteY4" fmla="*/ 236805 h 3484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348469">
                  <a:moveTo>
                    <a:pt x="0" y="236805"/>
                  </a:moveTo>
                  <a:lnTo>
                    <a:pt x="0" y="348470"/>
                  </a:lnTo>
                  <a:lnTo>
                    <a:pt x="180365" y="111664"/>
                  </a:lnTo>
                  <a:lnTo>
                    <a:pt x="180365" y="0"/>
                  </a:lnTo>
                  <a:lnTo>
                    <a:pt x="0" y="236805"/>
                  </a:lnTo>
                  <a:close/>
                </a:path>
              </a:pathLst>
            </a:custGeom>
            <a:solidFill>
              <a:srgbClr val="005B3A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A539E064-F95F-4406-9EB0-A5EAD8ECC557}"/>
                </a:ext>
              </a:extLst>
            </p:cNvPr>
            <p:cNvSpPr/>
            <p:nvPr/>
          </p:nvSpPr>
          <p:spPr>
            <a:xfrm>
              <a:off x="44276266" y="6029211"/>
              <a:ext cx="180365" cy="309306"/>
            </a:xfrm>
            <a:custGeom>
              <a:avLst/>
              <a:gdLst>
                <a:gd name="connsiteX0" fmla="*/ 0 w 180365"/>
                <a:gd name="connsiteY0" fmla="*/ 309306 h 309306"/>
                <a:gd name="connsiteX1" fmla="*/ 180365 w 180365"/>
                <a:gd name="connsiteY1" fmla="*/ 72450 h 309306"/>
                <a:gd name="connsiteX2" fmla="*/ 180365 w 180365"/>
                <a:gd name="connsiteY2" fmla="*/ 0 h 309306"/>
                <a:gd name="connsiteX3" fmla="*/ 0 w 180365"/>
                <a:gd name="connsiteY3" fmla="*/ 236805 h 309306"/>
                <a:gd name="connsiteX4" fmla="*/ 0 w 180365"/>
                <a:gd name="connsiteY4" fmla="*/ 309306 h 309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309306">
                  <a:moveTo>
                    <a:pt x="0" y="309306"/>
                  </a:moveTo>
                  <a:lnTo>
                    <a:pt x="180365" y="72450"/>
                  </a:lnTo>
                  <a:lnTo>
                    <a:pt x="180365" y="0"/>
                  </a:lnTo>
                  <a:lnTo>
                    <a:pt x="0" y="236805"/>
                  </a:lnTo>
                  <a:lnTo>
                    <a:pt x="0" y="309306"/>
                  </a:lnTo>
                  <a:close/>
                </a:path>
              </a:pathLst>
            </a:custGeom>
            <a:solidFill>
              <a:srgbClr val="BF8816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7444EC3-1E62-4FA2-9603-B535E0763BB8}"/>
                </a:ext>
              </a:extLst>
            </p:cNvPr>
            <p:cNvSpPr/>
            <p:nvPr/>
          </p:nvSpPr>
          <p:spPr>
            <a:xfrm>
              <a:off x="44276266" y="6101661"/>
              <a:ext cx="180365" cy="790668"/>
            </a:xfrm>
            <a:custGeom>
              <a:avLst/>
              <a:gdLst>
                <a:gd name="connsiteX0" fmla="*/ 0 w 180365"/>
                <a:gd name="connsiteY0" fmla="*/ 790669 h 790668"/>
                <a:gd name="connsiteX1" fmla="*/ 180365 w 180365"/>
                <a:gd name="connsiteY1" fmla="*/ 553863 h 790668"/>
                <a:gd name="connsiteX2" fmla="*/ 180365 w 180365"/>
                <a:gd name="connsiteY2" fmla="*/ 0 h 790668"/>
                <a:gd name="connsiteX3" fmla="*/ 0 w 180365"/>
                <a:gd name="connsiteY3" fmla="*/ 236856 h 790668"/>
                <a:gd name="connsiteX4" fmla="*/ 0 w 180365"/>
                <a:gd name="connsiteY4" fmla="*/ 790669 h 79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790668">
                  <a:moveTo>
                    <a:pt x="0" y="790669"/>
                  </a:moveTo>
                  <a:lnTo>
                    <a:pt x="180365" y="553863"/>
                  </a:lnTo>
                  <a:lnTo>
                    <a:pt x="180365" y="0"/>
                  </a:lnTo>
                  <a:lnTo>
                    <a:pt x="0" y="236856"/>
                  </a:lnTo>
                  <a:lnTo>
                    <a:pt x="0" y="790669"/>
                  </a:lnTo>
                  <a:close/>
                </a:path>
              </a:pathLst>
            </a:custGeom>
            <a:solidFill>
              <a:srgbClr val="000000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5EF78D24-2E69-4F9C-9548-7F998E367B21}"/>
                </a:ext>
              </a:extLst>
            </p:cNvPr>
            <p:cNvSpPr/>
            <p:nvPr/>
          </p:nvSpPr>
          <p:spPr>
            <a:xfrm>
              <a:off x="44276266" y="6655524"/>
              <a:ext cx="180365" cy="309306"/>
            </a:xfrm>
            <a:custGeom>
              <a:avLst/>
              <a:gdLst>
                <a:gd name="connsiteX0" fmla="*/ 0 w 180365"/>
                <a:gd name="connsiteY0" fmla="*/ 309306 h 309306"/>
                <a:gd name="connsiteX1" fmla="*/ 180365 w 180365"/>
                <a:gd name="connsiteY1" fmla="*/ 72450 h 309306"/>
                <a:gd name="connsiteX2" fmla="*/ 180365 w 180365"/>
                <a:gd name="connsiteY2" fmla="*/ 0 h 309306"/>
                <a:gd name="connsiteX3" fmla="*/ 0 w 180365"/>
                <a:gd name="connsiteY3" fmla="*/ 236805 h 309306"/>
                <a:gd name="connsiteX4" fmla="*/ 0 w 180365"/>
                <a:gd name="connsiteY4" fmla="*/ 309306 h 309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309306">
                  <a:moveTo>
                    <a:pt x="0" y="309306"/>
                  </a:moveTo>
                  <a:lnTo>
                    <a:pt x="180365" y="72450"/>
                  </a:lnTo>
                  <a:lnTo>
                    <a:pt x="180365" y="0"/>
                  </a:lnTo>
                  <a:lnTo>
                    <a:pt x="0" y="236805"/>
                  </a:lnTo>
                  <a:lnTo>
                    <a:pt x="0" y="309306"/>
                  </a:lnTo>
                  <a:close/>
                </a:path>
              </a:pathLst>
            </a:custGeom>
            <a:solidFill>
              <a:srgbClr val="BF8816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4EDEFE4-6FBA-49AB-9E25-5712D0C6B3E3}"/>
                </a:ext>
              </a:extLst>
            </p:cNvPr>
            <p:cNvSpPr/>
            <p:nvPr/>
          </p:nvSpPr>
          <p:spPr>
            <a:xfrm>
              <a:off x="44276266" y="6727974"/>
              <a:ext cx="180365" cy="348723"/>
            </a:xfrm>
            <a:custGeom>
              <a:avLst/>
              <a:gdLst>
                <a:gd name="connsiteX0" fmla="*/ 0 w 180365"/>
                <a:gd name="connsiteY0" fmla="*/ 348723 h 348723"/>
                <a:gd name="connsiteX1" fmla="*/ 180365 w 180365"/>
                <a:gd name="connsiteY1" fmla="*/ 111867 h 348723"/>
                <a:gd name="connsiteX2" fmla="*/ 180365 w 180365"/>
                <a:gd name="connsiteY2" fmla="*/ 0 h 348723"/>
                <a:gd name="connsiteX3" fmla="*/ 0 w 180365"/>
                <a:gd name="connsiteY3" fmla="*/ 236856 h 348723"/>
                <a:gd name="connsiteX4" fmla="*/ 0 w 180365"/>
                <a:gd name="connsiteY4" fmla="*/ 348723 h 3487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365" h="348723">
                  <a:moveTo>
                    <a:pt x="0" y="348723"/>
                  </a:moveTo>
                  <a:lnTo>
                    <a:pt x="180365" y="111867"/>
                  </a:lnTo>
                  <a:lnTo>
                    <a:pt x="180365" y="0"/>
                  </a:lnTo>
                  <a:lnTo>
                    <a:pt x="0" y="236856"/>
                  </a:lnTo>
                  <a:lnTo>
                    <a:pt x="0" y="348723"/>
                  </a:lnTo>
                  <a:close/>
                </a:path>
              </a:pathLst>
            </a:custGeom>
            <a:solidFill>
              <a:srgbClr val="005B3A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DF2B21F-4D4B-481B-ADEC-10F1BA4A08D8}"/>
                </a:ext>
              </a:extLst>
            </p:cNvPr>
            <p:cNvSpPr/>
            <p:nvPr/>
          </p:nvSpPr>
          <p:spPr>
            <a:xfrm>
              <a:off x="44108466" y="6964831"/>
              <a:ext cx="167800" cy="111866"/>
            </a:xfrm>
            <a:custGeom>
              <a:avLst/>
              <a:gdLst>
                <a:gd name="connsiteX0" fmla="*/ 167801 w 167800"/>
                <a:gd name="connsiteY0" fmla="*/ 111867 h 111866"/>
                <a:gd name="connsiteX1" fmla="*/ 167801 w 167800"/>
                <a:gd name="connsiteY1" fmla="*/ 0 h 111866"/>
                <a:gd name="connsiteX2" fmla="*/ 0 w 167800"/>
                <a:gd name="connsiteY2" fmla="*/ 111867 h 111866"/>
                <a:gd name="connsiteX3" fmla="*/ 167801 w 167800"/>
                <a:gd name="connsiteY3" fmla="*/ 111867 h 1118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7800" h="111866">
                  <a:moveTo>
                    <a:pt x="167801" y="111867"/>
                  </a:moveTo>
                  <a:lnTo>
                    <a:pt x="167801" y="0"/>
                  </a:lnTo>
                  <a:lnTo>
                    <a:pt x="0" y="111867"/>
                  </a:lnTo>
                  <a:lnTo>
                    <a:pt x="167801" y="111867"/>
                  </a:lnTo>
                  <a:close/>
                </a:path>
              </a:pathLst>
            </a:custGeom>
            <a:solidFill>
              <a:srgbClr val="00794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1E3B649-F3EA-46FB-8A99-477A3A420D5D}"/>
                </a:ext>
              </a:extLst>
            </p:cNvPr>
            <p:cNvSpPr/>
            <p:nvPr/>
          </p:nvSpPr>
          <p:spPr>
            <a:xfrm>
              <a:off x="43999740" y="6892330"/>
              <a:ext cx="276526" cy="184367"/>
            </a:xfrm>
            <a:custGeom>
              <a:avLst/>
              <a:gdLst>
                <a:gd name="connsiteX0" fmla="*/ 108726 w 276526"/>
                <a:gd name="connsiteY0" fmla="*/ 184368 h 184367"/>
                <a:gd name="connsiteX1" fmla="*/ 276526 w 276526"/>
                <a:gd name="connsiteY1" fmla="*/ 72501 h 184367"/>
                <a:gd name="connsiteX2" fmla="*/ 276526 w 276526"/>
                <a:gd name="connsiteY2" fmla="*/ 0 h 184367"/>
                <a:gd name="connsiteX3" fmla="*/ 0 w 276526"/>
                <a:gd name="connsiteY3" fmla="*/ 184368 h 184367"/>
                <a:gd name="connsiteX4" fmla="*/ 108726 w 276526"/>
                <a:gd name="connsiteY4" fmla="*/ 184368 h 184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6526" h="184367">
                  <a:moveTo>
                    <a:pt x="108726" y="184368"/>
                  </a:moveTo>
                  <a:lnTo>
                    <a:pt x="276526" y="72501"/>
                  </a:lnTo>
                  <a:lnTo>
                    <a:pt x="276526" y="0"/>
                  </a:lnTo>
                  <a:lnTo>
                    <a:pt x="0" y="184368"/>
                  </a:lnTo>
                  <a:lnTo>
                    <a:pt x="108726" y="184368"/>
                  </a:lnTo>
                  <a:close/>
                </a:path>
              </a:pathLst>
            </a:custGeom>
            <a:solidFill>
              <a:srgbClr val="FEB51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F2CBB82-75D3-4045-8457-2AD4E03F8859}"/>
                </a:ext>
              </a:extLst>
            </p:cNvPr>
            <p:cNvSpPr/>
            <p:nvPr/>
          </p:nvSpPr>
          <p:spPr>
            <a:xfrm>
              <a:off x="44074673" y="6154352"/>
              <a:ext cx="201593" cy="184165"/>
            </a:xfrm>
            <a:custGeom>
              <a:avLst/>
              <a:gdLst>
                <a:gd name="connsiteX0" fmla="*/ 14591 w 201593"/>
                <a:gd name="connsiteY0" fmla="*/ 0 h 184165"/>
                <a:gd name="connsiteX1" fmla="*/ 0 w 201593"/>
                <a:gd name="connsiteY1" fmla="*/ 49803 h 184165"/>
                <a:gd name="connsiteX2" fmla="*/ 201594 w 201593"/>
                <a:gd name="connsiteY2" fmla="*/ 184165 h 184165"/>
                <a:gd name="connsiteX3" fmla="*/ 201594 w 201593"/>
                <a:gd name="connsiteY3" fmla="*/ 111664 h 184165"/>
                <a:gd name="connsiteX4" fmla="*/ 34148 w 201593"/>
                <a:gd name="connsiteY4" fmla="*/ 0 h 184165"/>
                <a:gd name="connsiteX5" fmla="*/ 14591 w 201593"/>
                <a:gd name="connsiteY5" fmla="*/ 0 h 184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1593" h="184165">
                  <a:moveTo>
                    <a:pt x="14591" y="0"/>
                  </a:moveTo>
                  <a:lnTo>
                    <a:pt x="0" y="49803"/>
                  </a:lnTo>
                  <a:lnTo>
                    <a:pt x="201594" y="184165"/>
                  </a:lnTo>
                  <a:lnTo>
                    <a:pt x="201594" y="111664"/>
                  </a:lnTo>
                  <a:lnTo>
                    <a:pt x="34148" y="0"/>
                  </a:lnTo>
                  <a:lnTo>
                    <a:pt x="14591" y="0"/>
                  </a:lnTo>
                  <a:close/>
                </a:path>
              </a:pathLst>
            </a:custGeom>
            <a:solidFill>
              <a:srgbClr val="FEB51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C5CC1C0-553A-42F7-85A5-22A0FBD137AD}"/>
                </a:ext>
              </a:extLst>
            </p:cNvPr>
            <p:cNvSpPr/>
            <p:nvPr/>
          </p:nvSpPr>
          <p:spPr>
            <a:xfrm>
              <a:off x="43819274" y="6204155"/>
              <a:ext cx="456992" cy="872542"/>
            </a:xfrm>
            <a:custGeom>
              <a:avLst/>
              <a:gdLst>
                <a:gd name="connsiteX0" fmla="*/ 0 w 456992"/>
                <a:gd name="connsiteY0" fmla="*/ 872542 h 872542"/>
                <a:gd name="connsiteX1" fmla="*/ 180467 w 456992"/>
                <a:gd name="connsiteY1" fmla="*/ 872542 h 872542"/>
                <a:gd name="connsiteX2" fmla="*/ 456993 w 456992"/>
                <a:gd name="connsiteY2" fmla="*/ 688175 h 872542"/>
                <a:gd name="connsiteX3" fmla="*/ 456993 w 456992"/>
                <a:gd name="connsiteY3" fmla="*/ 134362 h 872542"/>
                <a:gd name="connsiteX4" fmla="*/ 255399 w 456992"/>
                <a:gd name="connsiteY4" fmla="*/ 0 h 872542"/>
                <a:gd name="connsiteX5" fmla="*/ 0 w 456992"/>
                <a:gd name="connsiteY5" fmla="*/ 872542 h 872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6992" h="872542">
                  <a:moveTo>
                    <a:pt x="0" y="872542"/>
                  </a:moveTo>
                  <a:lnTo>
                    <a:pt x="180467" y="872542"/>
                  </a:lnTo>
                  <a:lnTo>
                    <a:pt x="456993" y="688175"/>
                  </a:lnTo>
                  <a:lnTo>
                    <a:pt x="456993" y="134362"/>
                  </a:lnTo>
                  <a:lnTo>
                    <a:pt x="255399" y="0"/>
                  </a:lnTo>
                  <a:lnTo>
                    <a:pt x="0" y="872542"/>
                  </a:lnTo>
                  <a:close/>
                </a:path>
              </a:pathLst>
            </a:custGeom>
            <a:solidFill>
              <a:srgbClr val="000000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9EBB51AF-9710-40E4-ABD5-0930E82F48AB}"/>
                </a:ext>
              </a:extLst>
            </p:cNvPr>
            <p:cNvSpPr/>
            <p:nvPr/>
          </p:nvSpPr>
          <p:spPr>
            <a:xfrm>
              <a:off x="44108821" y="6154352"/>
              <a:ext cx="167445" cy="111664"/>
            </a:xfrm>
            <a:custGeom>
              <a:avLst/>
              <a:gdLst>
                <a:gd name="connsiteX0" fmla="*/ 0 w 167445"/>
                <a:gd name="connsiteY0" fmla="*/ 0 h 111664"/>
                <a:gd name="connsiteX1" fmla="*/ 167446 w 167445"/>
                <a:gd name="connsiteY1" fmla="*/ 111664 h 111664"/>
                <a:gd name="connsiteX2" fmla="*/ 167446 w 167445"/>
                <a:gd name="connsiteY2" fmla="*/ 0 h 111664"/>
                <a:gd name="connsiteX3" fmla="*/ 0 w 167445"/>
                <a:gd name="connsiteY3" fmla="*/ 0 h 111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7445" h="111664">
                  <a:moveTo>
                    <a:pt x="0" y="0"/>
                  </a:moveTo>
                  <a:lnTo>
                    <a:pt x="167446" y="111664"/>
                  </a:lnTo>
                  <a:lnTo>
                    <a:pt x="16744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94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07EB9B2F-EA43-428E-8F7B-7E794E82C362}"/>
                </a:ext>
              </a:extLst>
            </p:cNvPr>
            <p:cNvSpPr/>
            <p:nvPr/>
          </p:nvSpPr>
          <p:spPr>
            <a:xfrm>
              <a:off x="44456632" y="6101864"/>
              <a:ext cx="415144" cy="553609"/>
            </a:xfrm>
            <a:custGeom>
              <a:avLst/>
              <a:gdLst>
                <a:gd name="connsiteX0" fmla="*/ 415144 w 415144"/>
                <a:gd name="connsiteY0" fmla="*/ 276830 h 553609"/>
                <a:gd name="connsiteX1" fmla="*/ 0 w 415144"/>
                <a:gd name="connsiteY1" fmla="*/ 553610 h 553609"/>
                <a:gd name="connsiteX2" fmla="*/ 0 w 415144"/>
                <a:gd name="connsiteY2" fmla="*/ 0 h 553609"/>
                <a:gd name="connsiteX3" fmla="*/ 415144 w 415144"/>
                <a:gd name="connsiteY3" fmla="*/ 276830 h 553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144" h="553609">
                  <a:moveTo>
                    <a:pt x="415144" y="276830"/>
                  </a:moveTo>
                  <a:lnTo>
                    <a:pt x="0" y="553610"/>
                  </a:lnTo>
                  <a:lnTo>
                    <a:pt x="0" y="0"/>
                  </a:lnTo>
                  <a:lnTo>
                    <a:pt x="415144" y="276830"/>
                  </a:lnTo>
                  <a:close/>
                </a:path>
              </a:pathLst>
            </a:custGeom>
            <a:solidFill>
              <a:srgbClr val="000000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A867762-6355-49B5-80A7-F79B3AE80130}"/>
                </a:ext>
              </a:extLst>
            </p:cNvPr>
            <p:cNvSpPr/>
            <p:nvPr/>
          </p:nvSpPr>
          <p:spPr>
            <a:xfrm>
              <a:off x="44733158" y="6532004"/>
              <a:ext cx="1106865" cy="307786"/>
            </a:xfrm>
            <a:custGeom>
              <a:avLst/>
              <a:gdLst>
                <a:gd name="connsiteX0" fmla="*/ 1106865 w 1106865"/>
                <a:gd name="connsiteY0" fmla="*/ 0 h 307786"/>
                <a:gd name="connsiteX1" fmla="*/ 1106865 w 1106865"/>
                <a:gd name="connsiteY1" fmla="*/ 307786 h 307786"/>
                <a:gd name="connsiteX2" fmla="*/ 0 w 1106865"/>
                <a:gd name="connsiteY2" fmla="*/ 307786 h 307786"/>
                <a:gd name="connsiteX3" fmla="*/ 461654 w 1106865"/>
                <a:gd name="connsiteY3" fmla="*/ 0 h 307786"/>
                <a:gd name="connsiteX4" fmla="*/ 1106865 w 1106865"/>
                <a:gd name="connsiteY4" fmla="*/ 0 h 307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6865" h="307786">
                  <a:moveTo>
                    <a:pt x="1106865" y="0"/>
                  </a:moveTo>
                  <a:lnTo>
                    <a:pt x="1106865" y="307786"/>
                  </a:lnTo>
                  <a:lnTo>
                    <a:pt x="0" y="307786"/>
                  </a:lnTo>
                  <a:lnTo>
                    <a:pt x="461654" y="0"/>
                  </a:lnTo>
                  <a:lnTo>
                    <a:pt x="1106865" y="0"/>
                  </a:lnTo>
                  <a:close/>
                </a:path>
              </a:pathLst>
            </a:custGeom>
            <a:solidFill>
              <a:srgbClr val="062493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0360001-FC2F-477A-8BD8-9E10325DFB9A}"/>
                </a:ext>
              </a:extLst>
            </p:cNvPr>
            <p:cNvSpPr/>
            <p:nvPr/>
          </p:nvSpPr>
          <p:spPr>
            <a:xfrm>
              <a:off x="44733158" y="5917547"/>
              <a:ext cx="1106865" cy="307786"/>
            </a:xfrm>
            <a:custGeom>
              <a:avLst/>
              <a:gdLst>
                <a:gd name="connsiteX0" fmla="*/ 1106865 w 1106865"/>
                <a:gd name="connsiteY0" fmla="*/ 0 h 307786"/>
                <a:gd name="connsiteX1" fmla="*/ 1106865 w 1106865"/>
                <a:gd name="connsiteY1" fmla="*/ 307786 h 307786"/>
                <a:gd name="connsiteX2" fmla="*/ 461654 w 1106865"/>
                <a:gd name="connsiteY2" fmla="*/ 307786 h 307786"/>
                <a:gd name="connsiteX3" fmla="*/ 0 w 1106865"/>
                <a:gd name="connsiteY3" fmla="*/ 0 h 307786"/>
                <a:gd name="connsiteX4" fmla="*/ 1106865 w 1106865"/>
                <a:gd name="connsiteY4" fmla="*/ 0 h 307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06865" h="307786">
                  <a:moveTo>
                    <a:pt x="1106865" y="0"/>
                  </a:moveTo>
                  <a:lnTo>
                    <a:pt x="1106865" y="307786"/>
                  </a:lnTo>
                  <a:lnTo>
                    <a:pt x="461654" y="307786"/>
                  </a:lnTo>
                  <a:lnTo>
                    <a:pt x="0" y="0"/>
                  </a:lnTo>
                  <a:lnTo>
                    <a:pt x="1106865" y="0"/>
                  </a:lnTo>
                  <a:close/>
                </a:path>
              </a:pathLst>
            </a:custGeom>
            <a:solidFill>
              <a:srgbClr val="DD3831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95232D0-957A-4C2F-81DF-33F485E7542A}"/>
                </a:ext>
              </a:extLst>
            </p:cNvPr>
            <p:cNvSpPr/>
            <p:nvPr/>
          </p:nvSpPr>
          <p:spPr>
            <a:xfrm>
              <a:off x="44456632" y="6029211"/>
              <a:ext cx="524173" cy="698966"/>
            </a:xfrm>
            <a:custGeom>
              <a:avLst/>
              <a:gdLst>
                <a:gd name="connsiteX0" fmla="*/ 524174 w 524173"/>
                <a:gd name="connsiteY0" fmla="*/ 349483 h 698966"/>
                <a:gd name="connsiteX1" fmla="*/ 0 w 524173"/>
                <a:gd name="connsiteY1" fmla="*/ 698966 h 698966"/>
                <a:gd name="connsiteX2" fmla="*/ 0 w 524173"/>
                <a:gd name="connsiteY2" fmla="*/ 626263 h 698966"/>
                <a:gd name="connsiteX3" fmla="*/ 415144 w 524173"/>
                <a:gd name="connsiteY3" fmla="*/ 349483 h 698966"/>
                <a:gd name="connsiteX4" fmla="*/ 0 w 524173"/>
                <a:gd name="connsiteY4" fmla="*/ 72653 h 698966"/>
                <a:gd name="connsiteX5" fmla="*/ 0 w 524173"/>
                <a:gd name="connsiteY5" fmla="*/ 0 h 698966"/>
                <a:gd name="connsiteX6" fmla="*/ 524174 w 524173"/>
                <a:gd name="connsiteY6" fmla="*/ 349483 h 698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4173" h="698966">
                  <a:moveTo>
                    <a:pt x="524174" y="349483"/>
                  </a:moveTo>
                  <a:lnTo>
                    <a:pt x="0" y="698966"/>
                  </a:lnTo>
                  <a:lnTo>
                    <a:pt x="0" y="626263"/>
                  </a:lnTo>
                  <a:lnTo>
                    <a:pt x="415144" y="349483"/>
                  </a:lnTo>
                  <a:lnTo>
                    <a:pt x="0" y="72653"/>
                  </a:lnTo>
                  <a:lnTo>
                    <a:pt x="0" y="0"/>
                  </a:lnTo>
                  <a:lnTo>
                    <a:pt x="524174" y="349483"/>
                  </a:lnTo>
                  <a:close/>
                </a:path>
              </a:pathLst>
            </a:custGeom>
            <a:solidFill>
              <a:srgbClr val="FEB51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86E8C2C-0933-49A6-B8B7-1B5908480C91}"/>
                </a:ext>
              </a:extLst>
            </p:cNvPr>
            <p:cNvSpPr/>
            <p:nvPr/>
          </p:nvSpPr>
          <p:spPr>
            <a:xfrm>
              <a:off x="44624078" y="6471562"/>
              <a:ext cx="1215945" cy="368228"/>
            </a:xfrm>
            <a:custGeom>
              <a:avLst/>
              <a:gdLst>
                <a:gd name="connsiteX0" fmla="*/ 1215946 w 1215945"/>
                <a:gd name="connsiteY0" fmla="*/ 0 h 368228"/>
                <a:gd name="connsiteX1" fmla="*/ 1215946 w 1215945"/>
                <a:gd name="connsiteY1" fmla="*/ 60443 h 368228"/>
                <a:gd name="connsiteX2" fmla="*/ 570735 w 1215945"/>
                <a:gd name="connsiteY2" fmla="*/ 60443 h 368228"/>
                <a:gd name="connsiteX3" fmla="*/ 109080 w 1215945"/>
                <a:gd name="connsiteY3" fmla="*/ 368229 h 368228"/>
                <a:gd name="connsiteX4" fmla="*/ 0 w 1215945"/>
                <a:gd name="connsiteY4" fmla="*/ 368229 h 368228"/>
                <a:gd name="connsiteX5" fmla="*/ 552394 w 1215945"/>
                <a:gd name="connsiteY5" fmla="*/ 0 h 368228"/>
                <a:gd name="connsiteX6" fmla="*/ 1215946 w 1215945"/>
                <a:gd name="connsiteY6" fmla="*/ 0 h 368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5945" h="368228">
                  <a:moveTo>
                    <a:pt x="1215946" y="0"/>
                  </a:moveTo>
                  <a:lnTo>
                    <a:pt x="1215946" y="60443"/>
                  </a:lnTo>
                  <a:lnTo>
                    <a:pt x="570735" y="60443"/>
                  </a:lnTo>
                  <a:lnTo>
                    <a:pt x="109080" y="368229"/>
                  </a:lnTo>
                  <a:lnTo>
                    <a:pt x="0" y="368229"/>
                  </a:lnTo>
                  <a:lnTo>
                    <a:pt x="552394" y="0"/>
                  </a:lnTo>
                  <a:lnTo>
                    <a:pt x="1215946" y="0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9D9A6932-5D25-4927-81E6-84CDAA4DF56D}"/>
                </a:ext>
              </a:extLst>
            </p:cNvPr>
            <p:cNvSpPr/>
            <p:nvPr/>
          </p:nvSpPr>
          <p:spPr>
            <a:xfrm>
              <a:off x="44624078" y="5917547"/>
              <a:ext cx="1215945" cy="368228"/>
            </a:xfrm>
            <a:custGeom>
              <a:avLst/>
              <a:gdLst>
                <a:gd name="connsiteX0" fmla="*/ 1215946 w 1215945"/>
                <a:gd name="connsiteY0" fmla="*/ 307786 h 368228"/>
                <a:gd name="connsiteX1" fmla="*/ 1215946 w 1215945"/>
                <a:gd name="connsiteY1" fmla="*/ 368229 h 368228"/>
                <a:gd name="connsiteX2" fmla="*/ 552394 w 1215945"/>
                <a:gd name="connsiteY2" fmla="*/ 368229 h 368228"/>
                <a:gd name="connsiteX3" fmla="*/ 0 w 1215945"/>
                <a:gd name="connsiteY3" fmla="*/ 0 h 368228"/>
                <a:gd name="connsiteX4" fmla="*/ 109080 w 1215945"/>
                <a:gd name="connsiteY4" fmla="*/ 0 h 368228"/>
                <a:gd name="connsiteX5" fmla="*/ 570735 w 1215945"/>
                <a:gd name="connsiteY5" fmla="*/ 307786 h 368228"/>
                <a:gd name="connsiteX6" fmla="*/ 1215946 w 1215945"/>
                <a:gd name="connsiteY6" fmla="*/ 307786 h 368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5945" h="368228">
                  <a:moveTo>
                    <a:pt x="1215946" y="307786"/>
                  </a:moveTo>
                  <a:lnTo>
                    <a:pt x="1215946" y="368229"/>
                  </a:lnTo>
                  <a:lnTo>
                    <a:pt x="552394" y="368229"/>
                  </a:lnTo>
                  <a:lnTo>
                    <a:pt x="0" y="0"/>
                  </a:lnTo>
                  <a:lnTo>
                    <a:pt x="109080" y="0"/>
                  </a:lnTo>
                  <a:lnTo>
                    <a:pt x="570735" y="307786"/>
                  </a:lnTo>
                  <a:lnTo>
                    <a:pt x="1215946" y="307786"/>
                  </a:lnTo>
                  <a:close/>
                </a:path>
              </a:pathLst>
            </a:custGeom>
            <a:solidFill>
              <a:srgbClr val="FFFFFF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ECFEC01-0EBA-40D4-BBDB-EA9437A42F90}"/>
                </a:ext>
              </a:extLst>
            </p:cNvPr>
            <p:cNvSpPr/>
            <p:nvPr/>
          </p:nvSpPr>
          <p:spPr>
            <a:xfrm>
              <a:off x="44456632" y="5917547"/>
              <a:ext cx="1383391" cy="922244"/>
            </a:xfrm>
            <a:custGeom>
              <a:avLst/>
              <a:gdLst>
                <a:gd name="connsiteX0" fmla="*/ 1383392 w 1383391"/>
                <a:gd name="connsiteY0" fmla="*/ 368229 h 922244"/>
                <a:gd name="connsiteX1" fmla="*/ 1383392 w 1383391"/>
                <a:gd name="connsiteY1" fmla="*/ 554015 h 922244"/>
                <a:gd name="connsiteX2" fmla="*/ 719840 w 1383391"/>
                <a:gd name="connsiteY2" fmla="*/ 554015 h 922244"/>
                <a:gd name="connsiteX3" fmla="*/ 167446 w 1383391"/>
                <a:gd name="connsiteY3" fmla="*/ 922244 h 922244"/>
                <a:gd name="connsiteX4" fmla="*/ 0 w 1383391"/>
                <a:gd name="connsiteY4" fmla="*/ 922244 h 922244"/>
                <a:gd name="connsiteX5" fmla="*/ 0 w 1383391"/>
                <a:gd name="connsiteY5" fmla="*/ 810631 h 922244"/>
                <a:gd name="connsiteX6" fmla="*/ 524174 w 1383391"/>
                <a:gd name="connsiteY6" fmla="*/ 461147 h 922244"/>
                <a:gd name="connsiteX7" fmla="*/ 0 w 1383391"/>
                <a:gd name="connsiteY7" fmla="*/ 111664 h 922244"/>
                <a:gd name="connsiteX8" fmla="*/ 0 w 1383391"/>
                <a:gd name="connsiteY8" fmla="*/ 0 h 922244"/>
                <a:gd name="connsiteX9" fmla="*/ 167446 w 1383391"/>
                <a:gd name="connsiteY9" fmla="*/ 0 h 922244"/>
                <a:gd name="connsiteX10" fmla="*/ 719840 w 1383391"/>
                <a:gd name="connsiteY10" fmla="*/ 368229 h 922244"/>
                <a:gd name="connsiteX11" fmla="*/ 1383392 w 1383391"/>
                <a:gd name="connsiteY11" fmla="*/ 368229 h 922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383391" h="922244">
                  <a:moveTo>
                    <a:pt x="1383392" y="368229"/>
                  </a:moveTo>
                  <a:lnTo>
                    <a:pt x="1383392" y="554015"/>
                  </a:lnTo>
                  <a:lnTo>
                    <a:pt x="719840" y="554015"/>
                  </a:lnTo>
                  <a:lnTo>
                    <a:pt x="167446" y="922244"/>
                  </a:lnTo>
                  <a:lnTo>
                    <a:pt x="0" y="922244"/>
                  </a:lnTo>
                  <a:lnTo>
                    <a:pt x="0" y="810631"/>
                  </a:lnTo>
                  <a:lnTo>
                    <a:pt x="524174" y="461147"/>
                  </a:lnTo>
                  <a:lnTo>
                    <a:pt x="0" y="111664"/>
                  </a:lnTo>
                  <a:lnTo>
                    <a:pt x="0" y="0"/>
                  </a:lnTo>
                  <a:lnTo>
                    <a:pt x="167446" y="0"/>
                  </a:lnTo>
                  <a:lnTo>
                    <a:pt x="719840" y="368229"/>
                  </a:lnTo>
                  <a:lnTo>
                    <a:pt x="1383392" y="368229"/>
                  </a:lnTo>
                  <a:close/>
                </a:path>
              </a:pathLst>
            </a:custGeom>
            <a:solidFill>
              <a:srgbClr val="00794D"/>
            </a:solidFill>
            <a:ln w="50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27" name="Graphic 12600">
            <a:extLst>
              <a:ext uri="{FF2B5EF4-FFF2-40B4-BE49-F238E27FC236}">
                <a16:creationId xmlns:a16="http://schemas.microsoft.com/office/drawing/2014/main" id="{40DE1319-4967-4722-A51E-35A6C2C706DF}"/>
              </a:ext>
            </a:extLst>
          </p:cNvPr>
          <p:cNvGrpSpPr/>
          <p:nvPr/>
        </p:nvGrpSpPr>
        <p:grpSpPr>
          <a:xfrm>
            <a:off x="9463908" y="3773002"/>
            <a:ext cx="1189493" cy="1189493"/>
            <a:chOff x="4187476" y="12502690"/>
            <a:chExt cx="1032227" cy="1032607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C41FA562-F070-45FA-9D4A-C978A7E24C8F}"/>
                </a:ext>
              </a:extLst>
            </p:cNvPr>
            <p:cNvSpPr/>
            <p:nvPr/>
          </p:nvSpPr>
          <p:spPr>
            <a:xfrm>
              <a:off x="4187476" y="12825017"/>
              <a:ext cx="328611" cy="387953"/>
            </a:xfrm>
            <a:custGeom>
              <a:avLst/>
              <a:gdLst>
                <a:gd name="connsiteX0" fmla="*/ 328611 w 328611"/>
                <a:gd name="connsiteY0" fmla="*/ 194024 h 387953"/>
                <a:gd name="connsiteX1" fmla="*/ 37813 w 328611"/>
                <a:gd name="connsiteY1" fmla="*/ 387953 h 387953"/>
                <a:gd name="connsiteX2" fmla="*/ 37813 w 328611"/>
                <a:gd name="connsiteY2" fmla="*/ 0 h 3879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8611" h="387953">
                  <a:moveTo>
                    <a:pt x="328611" y="194024"/>
                  </a:moveTo>
                  <a:lnTo>
                    <a:pt x="37813" y="387953"/>
                  </a:lnTo>
                  <a:cubicBezTo>
                    <a:pt x="-12604" y="263550"/>
                    <a:pt x="-12604" y="124404"/>
                    <a:pt x="37813" y="0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CF02896-8343-4D8C-B17B-E33CD4A80445}"/>
                </a:ext>
              </a:extLst>
            </p:cNvPr>
            <p:cNvSpPr/>
            <p:nvPr/>
          </p:nvSpPr>
          <p:spPr>
            <a:xfrm>
              <a:off x="4455794" y="13190777"/>
              <a:ext cx="734472" cy="344520"/>
            </a:xfrm>
            <a:custGeom>
              <a:avLst/>
              <a:gdLst>
                <a:gd name="connsiteX0" fmla="*/ 734473 w 734472"/>
                <a:gd name="connsiteY0" fmla="*/ 0 h 344520"/>
                <a:gd name="connsiteX1" fmla="*/ 247650 w 734472"/>
                <a:gd name="connsiteY1" fmla="*/ 344519 h 344520"/>
                <a:gd name="connsiteX2" fmla="*/ 0 w 734472"/>
                <a:gd name="connsiteY2" fmla="*/ 281083 h 344520"/>
                <a:gd name="connsiteX3" fmla="*/ 421958 w 734472"/>
                <a:gd name="connsiteY3" fmla="*/ 0 h 344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472" h="344520">
                  <a:moveTo>
                    <a:pt x="734473" y="0"/>
                  </a:moveTo>
                  <a:cubicBezTo>
                    <a:pt x="661414" y="206257"/>
                    <a:pt x="466464" y="344221"/>
                    <a:pt x="247650" y="344519"/>
                  </a:cubicBezTo>
                  <a:cubicBezTo>
                    <a:pt x="161061" y="344677"/>
                    <a:pt x="75850" y="322849"/>
                    <a:pt x="0" y="281083"/>
                  </a:cubicBezTo>
                  <a:lnTo>
                    <a:pt x="421958" y="0"/>
                  </a:lnTo>
                  <a:close/>
                </a:path>
              </a:pathLst>
            </a:custGeom>
            <a:solidFill>
              <a:srgbClr val="06249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84747E0-60DE-4543-AAEF-626E440FE5B4}"/>
                </a:ext>
              </a:extLst>
            </p:cNvPr>
            <p:cNvSpPr/>
            <p:nvPr/>
          </p:nvSpPr>
          <p:spPr>
            <a:xfrm>
              <a:off x="4455890" y="12502690"/>
              <a:ext cx="734377" cy="344711"/>
            </a:xfrm>
            <a:custGeom>
              <a:avLst/>
              <a:gdLst>
                <a:gd name="connsiteX0" fmla="*/ 734378 w 734377"/>
                <a:gd name="connsiteY0" fmla="*/ 344711 h 344711"/>
                <a:gd name="connsiteX1" fmla="*/ 421862 w 734377"/>
                <a:gd name="connsiteY1" fmla="*/ 344711 h 344711"/>
                <a:gd name="connsiteX2" fmla="*/ 0 w 734377"/>
                <a:gd name="connsiteY2" fmla="*/ 63438 h 344711"/>
                <a:gd name="connsiteX3" fmla="*/ 700321 w 734377"/>
                <a:gd name="connsiteY3" fmla="*/ 268373 h 344711"/>
                <a:gd name="connsiteX4" fmla="*/ 734378 w 734377"/>
                <a:gd name="connsiteY4" fmla="*/ 344711 h 344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34377" h="344711">
                  <a:moveTo>
                    <a:pt x="734378" y="344711"/>
                  </a:moveTo>
                  <a:lnTo>
                    <a:pt x="421862" y="344711"/>
                  </a:lnTo>
                  <a:lnTo>
                    <a:pt x="0" y="63438"/>
                  </a:lnTo>
                  <a:cubicBezTo>
                    <a:pt x="249980" y="-73359"/>
                    <a:pt x="563524" y="18393"/>
                    <a:pt x="700321" y="268373"/>
                  </a:cubicBezTo>
                  <a:cubicBezTo>
                    <a:pt x="713719" y="292856"/>
                    <a:pt x="725109" y="318386"/>
                    <a:pt x="734378" y="344711"/>
                  </a:cubicBezTo>
                  <a:close/>
                </a:path>
              </a:pathLst>
            </a:custGeom>
            <a:solidFill>
              <a:srgbClr val="DD383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07330E-8CFA-4E84-BE9E-94ED849FF559}"/>
                </a:ext>
              </a:extLst>
            </p:cNvPr>
            <p:cNvSpPr/>
            <p:nvPr/>
          </p:nvSpPr>
          <p:spPr>
            <a:xfrm>
              <a:off x="4225290" y="12763581"/>
              <a:ext cx="412908" cy="510730"/>
            </a:xfrm>
            <a:custGeom>
              <a:avLst/>
              <a:gdLst>
                <a:gd name="connsiteX0" fmla="*/ 412909 w 412908"/>
                <a:gd name="connsiteY0" fmla="*/ 255461 h 510730"/>
                <a:gd name="connsiteX1" fmla="*/ 29718 w 412908"/>
                <a:gd name="connsiteY1" fmla="*/ 510731 h 510730"/>
                <a:gd name="connsiteX2" fmla="*/ 0 w 412908"/>
                <a:gd name="connsiteY2" fmla="*/ 449389 h 510730"/>
                <a:gd name="connsiteX3" fmla="*/ 290798 w 412908"/>
                <a:gd name="connsiteY3" fmla="*/ 255461 h 510730"/>
                <a:gd name="connsiteX4" fmla="*/ 0 w 412908"/>
                <a:gd name="connsiteY4" fmla="*/ 61436 h 510730"/>
                <a:gd name="connsiteX5" fmla="*/ 29528 w 412908"/>
                <a:gd name="connsiteY5" fmla="*/ 0 h 510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2908" h="510730">
                  <a:moveTo>
                    <a:pt x="412909" y="255461"/>
                  </a:moveTo>
                  <a:lnTo>
                    <a:pt x="29718" y="510731"/>
                  </a:lnTo>
                  <a:cubicBezTo>
                    <a:pt x="18457" y="490968"/>
                    <a:pt x="8529" y="470476"/>
                    <a:pt x="0" y="449389"/>
                  </a:cubicBezTo>
                  <a:lnTo>
                    <a:pt x="290798" y="255461"/>
                  </a:lnTo>
                  <a:lnTo>
                    <a:pt x="0" y="61436"/>
                  </a:lnTo>
                  <a:cubicBezTo>
                    <a:pt x="8494" y="40336"/>
                    <a:pt x="18358" y="19814"/>
                    <a:pt x="29528" y="0"/>
                  </a:cubicBezTo>
                  <a:close/>
                </a:path>
              </a:pathLst>
            </a:custGeom>
            <a:solidFill>
              <a:srgbClr val="FEB51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834C0C18-19E8-4063-8C28-241E4F90AB3E}"/>
                </a:ext>
              </a:extLst>
            </p:cNvPr>
            <p:cNvSpPr/>
            <p:nvPr/>
          </p:nvSpPr>
          <p:spPr>
            <a:xfrm>
              <a:off x="4393787" y="13123055"/>
              <a:ext cx="815435" cy="348805"/>
            </a:xfrm>
            <a:custGeom>
              <a:avLst/>
              <a:gdLst>
                <a:gd name="connsiteX0" fmla="*/ 815435 w 815435"/>
                <a:gd name="connsiteY0" fmla="*/ 0 h 348805"/>
                <a:gd name="connsiteX1" fmla="*/ 796385 w 815435"/>
                <a:gd name="connsiteY1" fmla="*/ 67723 h 348805"/>
                <a:gd name="connsiteX2" fmla="*/ 483965 w 815435"/>
                <a:gd name="connsiteY2" fmla="*/ 67723 h 348805"/>
                <a:gd name="connsiteX3" fmla="*/ 62103 w 815435"/>
                <a:gd name="connsiteY3" fmla="*/ 348805 h 348805"/>
                <a:gd name="connsiteX4" fmla="*/ 0 w 815435"/>
                <a:gd name="connsiteY4" fmla="*/ 308800 h 348805"/>
                <a:gd name="connsiteX5" fmla="*/ 463391 w 815435"/>
                <a:gd name="connsiteY5" fmla="*/ 0 h 348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5435" h="348805">
                  <a:moveTo>
                    <a:pt x="815435" y="0"/>
                  </a:moveTo>
                  <a:cubicBezTo>
                    <a:pt x="810598" y="22973"/>
                    <a:pt x="804234" y="45597"/>
                    <a:pt x="796385" y="67723"/>
                  </a:cubicBezTo>
                  <a:lnTo>
                    <a:pt x="483965" y="67723"/>
                  </a:lnTo>
                  <a:lnTo>
                    <a:pt x="62103" y="348805"/>
                  </a:lnTo>
                  <a:cubicBezTo>
                    <a:pt x="40464" y="336987"/>
                    <a:pt x="19708" y="323617"/>
                    <a:pt x="0" y="308800"/>
                  </a:cubicBezTo>
                  <a:lnTo>
                    <a:pt x="463391" y="0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3257DFA-9AA3-4438-91C3-13C59F229E94}"/>
                </a:ext>
              </a:extLst>
            </p:cNvPr>
            <p:cNvSpPr/>
            <p:nvPr/>
          </p:nvSpPr>
          <p:spPr>
            <a:xfrm>
              <a:off x="4393787" y="12566128"/>
              <a:ext cx="815435" cy="348996"/>
            </a:xfrm>
            <a:custGeom>
              <a:avLst/>
              <a:gdLst>
                <a:gd name="connsiteX0" fmla="*/ 815435 w 815435"/>
                <a:gd name="connsiteY0" fmla="*/ 348996 h 348996"/>
                <a:gd name="connsiteX1" fmla="*/ 463010 w 815435"/>
                <a:gd name="connsiteY1" fmla="*/ 348996 h 348996"/>
                <a:gd name="connsiteX2" fmla="*/ 0 w 815435"/>
                <a:gd name="connsiteY2" fmla="*/ 40005 h 348996"/>
                <a:gd name="connsiteX3" fmla="*/ 62103 w 815435"/>
                <a:gd name="connsiteY3" fmla="*/ 0 h 348996"/>
                <a:gd name="connsiteX4" fmla="*/ 483965 w 815435"/>
                <a:gd name="connsiteY4" fmla="*/ 281273 h 348996"/>
                <a:gd name="connsiteX5" fmla="*/ 796481 w 815435"/>
                <a:gd name="connsiteY5" fmla="*/ 281273 h 348996"/>
                <a:gd name="connsiteX6" fmla="*/ 815435 w 815435"/>
                <a:gd name="connsiteY6" fmla="*/ 348996 h 3489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5435" h="348996">
                  <a:moveTo>
                    <a:pt x="815435" y="348996"/>
                  </a:moveTo>
                  <a:lnTo>
                    <a:pt x="463010" y="348996"/>
                  </a:lnTo>
                  <a:lnTo>
                    <a:pt x="0" y="40005"/>
                  </a:lnTo>
                  <a:cubicBezTo>
                    <a:pt x="19754" y="25255"/>
                    <a:pt x="40505" y="11888"/>
                    <a:pt x="62103" y="0"/>
                  </a:cubicBezTo>
                  <a:lnTo>
                    <a:pt x="483965" y="281273"/>
                  </a:lnTo>
                  <a:lnTo>
                    <a:pt x="796481" y="281273"/>
                  </a:lnTo>
                  <a:cubicBezTo>
                    <a:pt x="804334" y="303390"/>
                    <a:pt x="810667" y="326016"/>
                    <a:pt x="815435" y="348996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E9FCEEE-C74F-4560-A250-C9E198EFDD6E}"/>
                </a:ext>
              </a:extLst>
            </p:cNvPr>
            <p:cNvSpPr/>
            <p:nvPr/>
          </p:nvSpPr>
          <p:spPr>
            <a:xfrm>
              <a:off x="4254817" y="12606133"/>
              <a:ext cx="964886" cy="825722"/>
            </a:xfrm>
            <a:custGeom>
              <a:avLst/>
              <a:gdLst>
                <a:gd name="connsiteX0" fmla="*/ 964883 w 964886"/>
                <a:gd name="connsiteY0" fmla="*/ 412909 h 825722"/>
                <a:gd name="connsiteX1" fmla="*/ 954405 w 964886"/>
                <a:gd name="connsiteY1" fmla="*/ 516922 h 825722"/>
                <a:gd name="connsiteX2" fmla="*/ 601980 w 964886"/>
                <a:gd name="connsiteY2" fmla="*/ 516922 h 825722"/>
                <a:gd name="connsiteX3" fmla="*/ 138970 w 964886"/>
                <a:gd name="connsiteY3" fmla="*/ 825722 h 825722"/>
                <a:gd name="connsiteX4" fmla="*/ 191 w 964886"/>
                <a:gd name="connsiteY4" fmla="*/ 668179 h 825722"/>
                <a:gd name="connsiteX5" fmla="*/ 383381 w 964886"/>
                <a:gd name="connsiteY5" fmla="*/ 412909 h 825722"/>
                <a:gd name="connsiteX6" fmla="*/ 0 w 964886"/>
                <a:gd name="connsiteY6" fmla="*/ 157448 h 825722"/>
                <a:gd name="connsiteX7" fmla="*/ 138970 w 964886"/>
                <a:gd name="connsiteY7" fmla="*/ 0 h 825722"/>
                <a:gd name="connsiteX8" fmla="*/ 602361 w 964886"/>
                <a:gd name="connsiteY8" fmla="*/ 308991 h 825722"/>
                <a:gd name="connsiteX9" fmla="*/ 954786 w 964886"/>
                <a:gd name="connsiteY9" fmla="*/ 308991 h 825722"/>
                <a:gd name="connsiteX10" fmla="*/ 964882 w 964886"/>
                <a:gd name="connsiteY10" fmla="*/ 412909 h 825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64886" h="825722">
                  <a:moveTo>
                    <a:pt x="964883" y="412909"/>
                  </a:moveTo>
                  <a:cubicBezTo>
                    <a:pt x="964894" y="447844"/>
                    <a:pt x="961383" y="482691"/>
                    <a:pt x="954405" y="516922"/>
                  </a:cubicBezTo>
                  <a:lnTo>
                    <a:pt x="601980" y="516922"/>
                  </a:lnTo>
                  <a:lnTo>
                    <a:pt x="138970" y="825722"/>
                  </a:lnTo>
                  <a:cubicBezTo>
                    <a:pt x="82429" y="783244"/>
                    <a:pt x="35197" y="729626"/>
                    <a:pt x="191" y="668179"/>
                  </a:cubicBezTo>
                  <a:lnTo>
                    <a:pt x="383381" y="412909"/>
                  </a:lnTo>
                  <a:lnTo>
                    <a:pt x="0" y="157448"/>
                  </a:lnTo>
                  <a:cubicBezTo>
                    <a:pt x="35180" y="96094"/>
                    <a:pt x="82460" y="42528"/>
                    <a:pt x="138970" y="0"/>
                  </a:cubicBezTo>
                  <a:lnTo>
                    <a:pt x="602361" y="308991"/>
                  </a:lnTo>
                  <a:lnTo>
                    <a:pt x="954786" y="308991"/>
                  </a:lnTo>
                  <a:cubicBezTo>
                    <a:pt x="961641" y="343202"/>
                    <a:pt x="965024" y="378018"/>
                    <a:pt x="964882" y="412909"/>
                  </a:cubicBezTo>
                  <a:close/>
                </a:path>
              </a:pathLst>
            </a:custGeom>
            <a:solidFill>
              <a:srgbClr val="00794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97130E7A-9BD9-472D-BBA0-077BEE24B0F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6224" y="5478758"/>
            <a:ext cx="1319551" cy="1379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1931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  <wetp:taskpane dockstate="right" visibility="0" width="350" row="3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21DC2DC5-8D14-4A5B-B73F-CF38CECC781E}">
  <we:reference id="wa200003052" version="1.0.0.0" store="en-US" storeType="OMEX"/>
  <we:alternateReferences>
    <we:reference id="WA200003052" version="1.0.0.0" store="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1590</TotalTime>
  <Words>2</Words>
  <Application>Microsoft Office PowerPoint</Application>
  <PresentationFormat>Widescreen</PresentationFormat>
  <Paragraphs>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South Afric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907</cp:revision>
  <dcterms:created xsi:type="dcterms:W3CDTF">2020-11-27T23:09:27Z</dcterms:created>
  <dcterms:modified xsi:type="dcterms:W3CDTF">2021-12-13T18:5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